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4.7119999999999997</c:v>
                </c:pt>
                <c:pt idx="1">
                  <c:v>3.7320000000000002</c:v>
                </c:pt>
                <c:pt idx="2">
                  <c:v>3.4729999999999999</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15.606</c:v>
                </c:pt>
                <c:pt idx="1">
                  <c:v>13.388999999999999</c:v>
                </c:pt>
                <c:pt idx="2">
                  <c:v>11.965</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6.4660000000000002</c:v>
                </c:pt>
                <c:pt idx="1">
                  <c:v>6.5170000000000003</c:v>
                </c:pt>
                <c:pt idx="2">
                  <c:v>5.7060000000000004</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9.7430000000000003</c:v>
                </c:pt>
                <c:pt idx="1">
                  <c:v>7.4560000000000004</c:v>
                </c:pt>
                <c:pt idx="2">
                  <c:v>7.69</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42.651000000000003</c:v>
                </c:pt>
                <c:pt idx="1">
                  <c:v>41.145000000000003</c:v>
                </c:pt>
                <c:pt idx="2">
                  <c:v>38.08</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15.968999999999999</c:v>
                </c:pt>
                <c:pt idx="1">
                  <c:v>16.997</c:v>
                </c:pt>
                <c:pt idx="2">
                  <c:v>20.17200000000000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95.146999999999991</c:v>
                </c:pt>
                <c:pt idx="1">
                  <c:v>89.236000000000004</c:v>
                </c:pt>
                <c:pt idx="2">
                  <c:v>87.085999999999999</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2C5A8C6E-DC3F-4703-AF1A-4823891DE6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EF31430F-C358-4CF5-B8E1-5FD59BC2DBB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42DCEB5D-F643-43FF-8B13-8532BD37B2B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C3792B98-DFF2-445D-B32B-875FE6F419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375EECF9-CABF-4515-9A61-AF618268B73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6C7CA920-4D65-47D8-9E09-10B7F79864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C7CF23F0-08C0-4B5C-B125-05307848676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5A597249-49B5-4C33-880A-15238D360F8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791A1EED-0320-498D-B0A1-313BB34A7FB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FE0884B5-4783-4FE4-A4E4-C0076190E42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A71896E7-5D1E-4221-A0BD-D3051D8E5E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9A9EB1EE-4D9C-4E0C-B44F-1C77351D218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85200F97-8019-4F0F-AD48-AEA52B59F27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5958B837-FFFD-4304-9036-A2D0A1DBF54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507CB465-417A-41D0-B655-4A30A1DF3B8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A8E73466-3F67-4BC4-9D7E-E7198B6DF39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A37A4D5B-876D-4D0F-A410-AD372BCE451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11DB72FE-9D11-41BF-B254-BC98576512E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Gezondheids- en welzijnszorg</c:v>
                </c:pt>
                <c:pt idx="1">
                  <c:v>Handel</c:v>
                </c:pt>
                <c:pt idx="2">
                  <c:v>Verhuur en overige zakelijke diensten</c:v>
                </c:pt>
                <c:pt idx="3">
                  <c:v>Industrie</c:v>
                </c:pt>
                <c:pt idx="4">
                  <c:v>Openbaar bestuur en overheidsdiensten</c:v>
                </c:pt>
                <c:pt idx="5">
                  <c:v>Onderwijs</c:v>
                </c:pt>
                <c:pt idx="6">
                  <c:v>Financiële dienstverlening</c:v>
                </c:pt>
                <c:pt idx="7">
                  <c:v>Vervoer en opslag</c:v>
                </c:pt>
                <c:pt idx="8">
                  <c:v>Specialistische zakelijke diensten</c:v>
                </c:pt>
                <c:pt idx="9">
                  <c:v>Horeca</c:v>
                </c:pt>
                <c:pt idx="10">
                  <c:v>Informatie en communicatie</c:v>
                </c:pt>
                <c:pt idx="11">
                  <c:v>Cultuur, sport en recreatie</c:v>
                </c:pt>
                <c:pt idx="12">
                  <c:v>Waterbedrijven en afvalbeheer</c:v>
                </c:pt>
                <c:pt idx="13">
                  <c:v>Verhuur en handel van onroerend goed</c:v>
                </c:pt>
                <c:pt idx="14">
                  <c:v>Overige dienstverlening</c:v>
                </c:pt>
                <c:pt idx="15">
                  <c:v>Landbouw, bosbouw en visserij</c:v>
                </c:pt>
                <c:pt idx="16">
                  <c:v>Delfstoffenwinning</c:v>
                </c:pt>
                <c:pt idx="17">
                  <c:v>Energievoorziening</c:v>
                </c:pt>
                <c:pt idx="18">
                  <c:v>Bouwnijverheid</c:v>
                </c:pt>
              </c:strCache>
            </c:strRef>
          </c:cat>
          <c:val>
            <c:numRef>
              <c:f>Sheet1!$B$2:$B$20</c:f>
              <c:numCache>
                <c:formatCode>General</c:formatCode>
                <c:ptCount val="19"/>
                <c:pt idx="0">
                  <c:v>12.5</c:v>
                </c:pt>
                <c:pt idx="1">
                  <c:v>7.8</c:v>
                </c:pt>
                <c:pt idx="2">
                  <c:v>6.2</c:v>
                </c:pt>
                <c:pt idx="3">
                  <c:v>4.4000000000000004</c:v>
                </c:pt>
                <c:pt idx="4">
                  <c:v>4.4000000000000004</c:v>
                </c:pt>
                <c:pt idx="5">
                  <c:v>4.0999999999999996</c:v>
                </c:pt>
                <c:pt idx="6">
                  <c:v>4</c:v>
                </c:pt>
                <c:pt idx="7">
                  <c:v>2.7</c:v>
                </c:pt>
                <c:pt idx="8">
                  <c:v>2.5</c:v>
                </c:pt>
                <c:pt idx="9">
                  <c:v>1.7</c:v>
                </c:pt>
                <c:pt idx="10">
                  <c:v>0.6</c:v>
                </c:pt>
                <c:pt idx="11">
                  <c:v>0.6</c:v>
                </c:pt>
                <c:pt idx="12">
                  <c:v>0.4</c:v>
                </c:pt>
                <c:pt idx="13">
                  <c:v>0.4</c:v>
                </c:pt>
                <c:pt idx="14">
                  <c:v>0.4</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12,5</c:v>
                  </c:pt>
                  <c:pt idx="1">
                    <c:v>7,8</c:v>
                  </c:pt>
                  <c:pt idx="2">
                    <c:v>6,2</c:v>
                  </c:pt>
                  <c:pt idx="3">
                    <c:v>4,4</c:v>
                  </c:pt>
                  <c:pt idx="4">
                    <c:v>4,4</c:v>
                  </c:pt>
                  <c:pt idx="5">
                    <c:v>4,1</c:v>
                  </c:pt>
                  <c:pt idx="6">
                    <c:v>4</c:v>
                  </c:pt>
                  <c:pt idx="7">
                    <c:v>2,7</c:v>
                  </c:pt>
                  <c:pt idx="8">
                    <c:v>2,5</c:v>
                  </c:pt>
                  <c:pt idx="9">
                    <c:v>1,7</c:v>
                  </c:pt>
                  <c:pt idx="10">
                    <c:v>0,6</c:v>
                  </c:pt>
                  <c:pt idx="11">
                    <c:v>0,6</c:v>
                  </c:pt>
                  <c:pt idx="12">
                    <c:v>0,4</c:v>
                  </c:pt>
                  <c:pt idx="13">
                    <c:v>0,4</c:v>
                  </c:pt>
                  <c:pt idx="14">
                    <c:v>0,4</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F5A9875E-305E-4095-9C82-F01007AB52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C022D09F-0688-40CE-AF6F-393EA720ACE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3AEAA957-A67E-4E36-8F74-FEC733BC3B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AB461DA7-5DD3-4FAB-9979-58DB4933FD7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C7DA55D3-2B4C-4275-BBD6-46B7A9B9FD8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54EBA6B8-4C40-4B88-A515-59A50F12E79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819A3D65-9A4C-4500-8030-B4CD40C74E5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AEFDB5C4-AB19-4C18-9FBF-EEACFD739F7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2374B6D0-5343-4CA5-8A06-40F4695B894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EBB02950-0A9B-4F6A-83F3-5868315CA1B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EF967F2C-5585-4CE5-8D67-23EE8B29C9B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A3D2F816-B714-42AE-9A20-62F3A3A3AEE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40ED679C-4ED0-4F00-B0AF-F5572B99E2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DA2704CB-EED0-46DA-8B31-184F17F88F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63CEAEB2-E781-412F-BFCC-AE512E6DD93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822B0FB2-C881-4D21-A75C-A7B6548A8A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1999D3F1-34B6-4DFF-87EE-AA82175357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A81300D2-E52A-4A99-A226-404E115C7BF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90000000000000036</c:v>
                </c:pt>
                <c:pt idx="1">
                  <c:v>0.29999999999999982</c:v>
                </c:pt>
                <c:pt idx="2">
                  <c:v>-9.9999999999999645E-2</c:v>
                </c:pt>
                <c:pt idx="3">
                  <c:v>-1</c:v>
                </c:pt>
                <c:pt idx="4">
                  <c:v>-0.69999999999999929</c:v>
                </c:pt>
                <c:pt idx="5">
                  <c:v>-0.40000000000000036</c:v>
                </c:pt>
                <c:pt idx="6">
                  <c:v>-9.9999999999999645E-2</c:v>
                </c:pt>
                <c:pt idx="7">
                  <c:v>0.20000000000000018</c:v>
                </c:pt>
                <c:pt idx="8">
                  <c:v>0.60000000000000009</c:v>
                </c:pt>
                <c:pt idx="9">
                  <c:v>9.9999999999999867E-2</c:v>
                </c:pt>
                <c:pt idx="10">
                  <c:v>-0.30000000000000004</c:v>
                </c:pt>
                <c:pt idx="11">
                  <c:v>9.9999999999999978E-2</c:v>
                </c:pt>
                <c:pt idx="12">
                  <c:v>0</c:v>
                </c:pt>
                <c:pt idx="13">
                  <c:v>-9.9999999999999978E-2</c:v>
                </c:pt>
                <c:pt idx="14">
                  <c:v>-9.9999999999999978E-2</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9</c:v>
                  </c:pt>
                  <c:pt idx="1">
                    <c:v>0,3</c:v>
                  </c:pt>
                  <c:pt idx="2">
                    <c:v>-0,1</c:v>
                  </c:pt>
                  <c:pt idx="3">
                    <c:v>-1</c:v>
                  </c:pt>
                  <c:pt idx="4">
                    <c:v>-0,7</c:v>
                  </c:pt>
                  <c:pt idx="5">
                    <c:v>-0,4</c:v>
                  </c:pt>
                  <c:pt idx="6">
                    <c:v>-0,1</c:v>
                  </c:pt>
                  <c:pt idx="7">
                    <c:v>0,2</c:v>
                  </c:pt>
                  <c:pt idx="8">
                    <c:v>0,6</c:v>
                  </c:pt>
                  <c:pt idx="9">
                    <c:v>0,1</c:v>
                  </c:pt>
                  <c:pt idx="10">
                    <c:v>-0,3</c:v>
                  </c:pt>
                  <c:pt idx="11">
                    <c:v>0,1</c:v>
                  </c:pt>
                  <c:pt idx="12">
                    <c:v>0</c:v>
                  </c:pt>
                  <c:pt idx="13">
                    <c:v>-0,1</c:v>
                  </c:pt>
                  <c:pt idx="14">
                    <c:v>-0,1</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72DA2C5D-3712-4155-AD67-1A5FA799BF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0088416F-797E-4D7C-B802-3039B5C2B5D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24B7EF1E-6827-49FB-8FFC-FE6927E40EB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368EAEC5-6A1E-403E-BA45-BFE4F05C696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D35B74F7-43D9-414A-BABD-F05B5F4959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000B9BC9-3F44-469E-A75A-51F1F9A014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A134BE47-CDD9-4F55-BF77-D446C9E9080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F4AC1B44-6F28-40BF-982B-41DE3A1C51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357C0FBD-43C7-4FBA-8A14-CC04BC6F2E9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C65D7CAD-E46A-49FD-A677-00356FA1A93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A9612F33-8E63-4A48-A601-A6CC8A20231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60421695-6FE9-4C8E-A109-8CC24044DD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9A86C4EC-46FB-4CE0-B69D-0A584786153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3C28E5CF-2CBC-44DB-ABD2-5E3D1590E31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4C0778BD-3D80-40C6-BA99-84E55312F68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6842451A-7FF4-4027-83A9-8986222D04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BBB28700-B839-498B-894D-A76C7D8F5D0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01AA887B-FB03-4E8F-BFA6-09C5205DB6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42859139457780437</c:v>
                </c:pt>
                <c:pt idx="1">
                  <c:v>-0.10918572998187259</c:v>
                </c:pt>
                <c:pt idx="2">
                  <c:v>-7.9763663413502384E-2</c:v>
                </c:pt>
                <c:pt idx="3">
                  <c:v>-7.7779553434930593E-2</c:v>
                </c:pt>
                <c:pt idx="4">
                  <c:v>0.34497712850569973</c:v>
                </c:pt>
                <c:pt idx="5">
                  <c:v>0.23149016144453793</c:v>
                </c:pt>
                <c:pt idx="6">
                  <c:v>1.4154134710643076</c:v>
                </c:pt>
                <c:pt idx="7">
                  <c:v>0.11004480133764027</c:v>
                </c:pt>
                <c:pt idx="8">
                  <c:v>-0.24208400555676235</c:v>
                </c:pt>
                <c:pt idx="9">
                  <c:v>-0.36606486437229813</c:v>
                </c:pt>
                <c:pt idx="10">
                  <c:v>-0.65874673124143979</c:v>
                </c:pt>
                <c:pt idx="11">
                  <c:v>-0.31316466837600565</c:v>
                </c:pt>
                <c:pt idx="12">
                  <c:v>0.8251298418997155</c:v>
                </c:pt>
                <c:pt idx="13">
                  <c:v>-5.4226748593451557E-2</c:v>
                </c:pt>
                <c:pt idx="14">
                  <c:v>-0.52083611820331943</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43%</c:v>
                  </c:pt>
                  <c:pt idx="1">
                    <c:v>-11%</c:v>
                  </c:pt>
                  <c:pt idx="2">
                    <c:v>-8%</c:v>
                  </c:pt>
                  <c:pt idx="3">
                    <c:v>-8%</c:v>
                  </c:pt>
                  <c:pt idx="4">
                    <c:v>+34%</c:v>
                  </c:pt>
                  <c:pt idx="5">
                    <c:v>+23%</c:v>
                  </c:pt>
                  <c:pt idx="6">
                    <c:v>+142%</c:v>
                  </c:pt>
                  <c:pt idx="7">
                    <c:v>+11%</c:v>
                  </c:pt>
                  <c:pt idx="8">
                    <c:v>-24%</c:v>
                  </c:pt>
                  <c:pt idx="9">
                    <c:v>-37%</c:v>
                  </c:pt>
                  <c:pt idx="10">
                    <c:v>-66%</c:v>
                  </c:pt>
                  <c:pt idx="11">
                    <c:v>-31%</c:v>
                  </c:pt>
                  <c:pt idx="12">
                    <c:v>+83%</c:v>
                  </c:pt>
                  <c:pt idx="13">
                    <c:v>-5%</c:v>
                  </c:pt>
                  <c:pt idx="14">
                    <c:v>-52%</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57352941176470584</c:v>
                </c:pt>
                <c:pt idx="1">
                  <c:v>0.58208955223880599</c:v>
                </c:pt>
                <c:pt idx="2">
                  <c:v>0.60606060606060608</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8.8000001907348635E-2</c:v>
                </c:pt>
                <c:pt idx="1">
                  <c:v>6.8000001907348631E-2</c:v>
                </c:pt>
                <c:pt idx="2">
                  <c:v>4.300000190734863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213377556661139</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20327447688372566</c:v>
                </c:pt>
                <c:pt idx="1">
                  <c:v>0.21108390728325285</c:v>
                </c:pt>
                <c:pt idx="2">
                  <c:v>0.21213377556661139</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213377556661139</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8.1918262025758623E-2</c:v>
                </c:pt>
                <c:pt idx="1">
                  <c:v>8.3518293938631222E-2</c:v>
                </c:pt>
                <c:pt idx="2">
                  <c:v>8.4531048461396724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213377556661139</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848085005690333E-2</c:v>
                </c:pt>
                <c:pt idx="1">
                  <c:v>5.9721300597213006E-2</c:v>
                </c:pt>
                <c:pt idx="2">
                  <c:v>5.1478717523493644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213377556661139</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28999999999999998</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6</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15</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1.566964285714286</c:v>
                </c:pt>
                <c:pt idx="2">
                  <c:v>1.566964285714286</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4914285714285715</c:v>
                </c:pt>
                <c:pt idx="4" formatCode="0.0%">
                  <c:v>1.4914285714285715</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2180451127819552</c:v>
                </c:pt>
                <c:pt idx="6" formatCode="0.0%">
                  <c:v>1.2180451127819552</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85714285714285732</c:v>
                </c:pt>
                <c:pt idx="8" formatCode="0.0%">
                  <c:v>0.85714285714285732</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5844155844155845</c:v>
                </c:pt>
                <c:pt idx="10" formatCode="0.0%">
                  <c:v>0.5844155844155845</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1.4464285714285712</c:v>
                </c:pt>
                <c:pt idx="14" formatCode="0.0%">
                  <c:v>1.4464285714285712</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1.3975155279503102</c:v>
                </c:pt>
                <c:pt idx="16" formatCode="0.0%">
                  <c:v>1.3975155279503102</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2100840336134451</c:v>
                </c:pt>
                <c:pt idx="18" formatCode="0.0%">
                  <c:v>1.2100840336134451</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89010989010989006</c:v>
                </c:pt>
                <c:pt idx="20" formatCode="0.0%">
                  <c:v>0.89010989010989006</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5714285714285714</c:v>
                </c:pt>
                <c:pt idx="22" formatCode="0.0%">
                  <c:v>0.5714285714285714</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1.0104895104895106</c:v>
                </c:pt>
                <c:pt idx="26">
                  <c:v>1.010489510489510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74102564102564117</c:v>
                </c:pt>
                <c:pt idx="28">
                  <c:v>0.74102564102564117</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68227424749163879</c:v>
                </c:pt>
                <c:pt idx="30">
                  <c:v>0.68227424749163879</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60355029585798814</c:v>
                </c:pt>
                <c:pt idx="32">
                  <c:v>0.60355029585798814</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40236686390532544</c:v>
                </c:pt>
                <c:pt idx="34">
                  <c:v>0.40236686390532544</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4896551724137932</c:v>
                </c:pt>
                <c:pt idx="38">
                  <c:v>1.4896551724137932</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1760435571687839</c:v>
                </c:pt>
                <c:pt idx="40">
                  <c:v>1.1760435571687839</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0241379310344829</c:v>
                </c:pt>
                <c:pt idx="42">
                  <c:v>1.0241379310344829</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80959520239880078</c:v>
                </c:pt>
                <c:pt idx="44">
                  <c:v>0.80959520239880078</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56527093596059108</c:v>
                </c:pt>
                <c:pt idx="46">
                  <c:v>0.56527093596059108</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4.7119999999999997</c:v>
                </c:pt>
                <c:pt idx="1">
                  <c:v>3.7320000000000002</c:v>
                </c:pt>
                <c:pt idx="2">
                  <c:v>3.4729999999999999</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15.606</c:v>
                </c:pt>
                <c:pt idx="1">
                  <c:v>13.388999999999999</c:v>
                </c:pt>
                <c:pt idx="2">
                  <c:v>11.965</c:v>
                </c:pt>
                <c:pt idx="3">
                  <c:v>15.699999809265137</c:v>
                </c:pt>
                <c:pt idx="4">
                  <c:v>16.200000762939453</c:v>
                </c:pt>
                <c:pt idx="5">
                  <c:v>15.800000190734863</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6.4660000000000002</c:v>
                </c:pt>
                <c:pt idx="1">
                  <c:v>6.5170000000000003</c:v>
                </c:pt>
                <c:pt idx="2">
                  <c:v>5.7060000000000004</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9.7430000000000003</c:v>
                </c:pt>
                <c:pt idx="1">
                  <c:v>7.4560000000000004</c:v>
                </c:pt>
                <c:pt idx="2">
                  <c:v>7.69</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42.651000000000003</c:v>
                </c:pt>
                <c:pt idx="1">
                  <c:v>41.145000000000003</c:v>
                </c:pt>
                <c:pt idx="2">
                  <c:v>38.08</c:v>
                </c:pt>
                <c:pt idx="3">
                  <c:v>46.799999237060547</c:v>
                </c:pt>
                <c:pt idx="4">
                  <c:v>44.700000762939453</c:v>
                </c:pt>
                <c:pt idx="5">
                  <c:v>45</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15.968999999999999</c:v>
                </c:pt>
                <c:pt idx="1">
                  <c:v>16.997</c:v>
                </c:pt>
                <c:pt idx="2">
                  <c:v>20.172000000000001</c:v>
                </c:pt>
                <c:pt idx="3">
                  <c:v>24.600000381469727</c:v>
                </c:pt>
                <c:pt idx="4">
                  <c:v>25.5</c:v>
                </c:pt>
                <c:pt idx="5">
                  <c:v>23.399999618530273</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95.146999999999991</c:v>
                </c:pt>
                <c:pt idx="1">
                  <c:v>89.236000000000004</c:v>
                </c:pt>
                <c:pt idx="2">
                  <c:v>87.085999999999999</c:v>
                </c:pt>
                <c:pt idx="3">
                  <c:v>87.09999942779541</c:v>
                </c:pt>
                <c:pt idx="4">
                  <c:v>86.400001525878906</c:v>
                </c:pt>
                <c:pt idx="5">
                  <c:v>84.199999809265137</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46854880807377763</c:v>
                </c:pt>
                <c:pt idx="1">
                  <c:v>0.36534278754132593</c:v>
                </c:pt>
                <c:pt idx="2">
                  <c:v>0.16369410127022793</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186000</c:v>
                </c:pt>
                <c:pt idx="1">
                  <c:v>178000</c:v>
                </c:pt>
                <c:pt idx="2">
                  <c:v>270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1710</c:v>
                </c:pt>
                <c:pt idx="1">
                  <c:v>3580</c:v>
                </c:pt>
                <c:pt idx="2">
                  <c:v>5465</c:v>
                </c:pt>
                <c:pt idx="3">
                  <c:v>41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515</c:v>
                </c:pt>
                <c:pt idx="1">
                  <c:v>3470</c:v>
                </c:pt>
                <c:pt idx="2">
                  <c:v>5500</c:v>
                </c:pt>
                <c:pt idx="3">
                  <c:v>35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285</c:v>
                </c:pt>
                <c:pt idx="1">
                  <c:v>3770</c:v>
                </c:pt>
                <c:pt idx="2">
                  <c:v>5750</c:v>
                </c:pt>
                <c:pt idx="3">
                  <c:v>995</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19298245614035087</c:v>
                </c:pt>
                <c:pt idx="1">
                  <c:v>3.9787798408488064E-3</c:v>
                </c:pt>
                <c:pt idx="2">
                  <c:v>2.5217391304347827E-2</c:v>
                </c:pt>
                <c:pt idx="3">
                  <c:v>0.24623115577889448</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21052631578947367</c:v>
                </c:pt>
                <c:pt idx="1">
                  <c:v>3.1830238726790451E-2</c:v>
                </c:pt>
                <c:pt idx="2">
                  <c:v>3.1304347826086959E-2</c:v>
                </c:pt>
                <c:pt idx="3">
                  <c:v>0.24120603015075376</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807017543859649</c:v>
                </c:pt>
                <c:pt idx="1">
                  <c:v>0.10477453580901856</c:v>
                </c:pt>
                <c:pt idx="2">
                  <c:v>0.10434782608695652</c:v>
                </c:pt>
                <c:pt idx="3">
                  <c:v>0.26633165829145727</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4035087719298245</c:v>
                </c:pt>
                <c:pt idx="1">
                  <c:v>0.27718832891246686</c:v>
                </c:pt>
                <c:pt idx="2">
                  <c:v>0.26695652173913043</c:v>
                </c:pt>
                <c:pt idx="3">
                  <c:v>0.19095477386934673</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17543859649122806</c:v>
                </c:pt>
                <c:pt idx="1">
                  <c:v>0.58222811671087538</c:v>
                </c:pt>
                <c:pt idx="2">
                  <c:v>0.57217391304347831</c:v>
                </c:pt>
                <c:pt idx="3">
                  <c:v>5.5276381909547742E-2</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27</c:v>
                </c:pt>
                <c:pt idx="1">
                  <c:v>2.6000000000000002E-2</c:v>
                </c:pt>
                <c:pt idx="2">
                  <c:v>8.0000000000000002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2035</c:v>
                </c:pt>
                <c:pt idx="1">
                  <c:v>2110</c:v>
                </c:pt>
                <c:pt idx="2">
                  <c:v>2195</c:v>
                </c:pt>
                <c:pt idx="3">
                  <c:v>2320</c:v>
                </c:pt>
                <c:pt idx="4">
                  <c:v>2055</c:v>
                </c:pt>
                <c:pt idx="5">
                  <c:v>1955</c:v>
                </c:pt>
                <c:pt idx="6">
                  <c:v>192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325</c:v>
                </c:pt>
                <c:pt idx="1">
                  <c:v>330</c:v>
                </c:pt>
                <c:pt idx="2">
                  <c:v>330</c:v>
                </c:pt>
                <c:pt idx="3">
                  <c:v>360</c:v>
                </c:pt>
                <c:pt idx="4">
                  <c:v>325</c:v>
                </c:pt>
                <c:pt idx="5">
                  <c:v>320</c:v>
                </c:pt>
                <c:pt idx="6">
                  <c:v>32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75</c:v>
                </c:pt>
                <c:pt idx="1">
                  <c:v>70</c:v>
                </c:pt>
                <c:pt idx="2">
                  <c:v>70</c:v>
                </c:pt>
                <c:pt idx="3">
                  <c:v>70</c:v>
                </c:pt>
                <c:pt idx="4">
                  <c:v>65</c:v>
                </c:pt>
                <c:pt idx="5">
                  <c:v>65</c:v>
                </c:pt>
                <c:pt idx="6">
                  <c:v>6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B$2:$B$3</c:f>
              <c:numCache>
                <c:formatCode>0%</c:formatCode>
                <c:ptCount val="2"/>
                <c:pt idx="0">
                  <c:v>0.38161764705882351</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C$2:$C$3</c:f>
              <c:numCache>
                <c:formatCode>0%</c:formatCode>
                <c:ptCount val="2"/>
                <c:pt idx="0">
                  <c:v>0.26323529411764707</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D$2:$D$3</c:f>
              <c:numCache>
                <c:formatCode>0%</c:formatCode>
                <c:ptCount val="2"/>
                <c:pt idx="0">
                  <c:v>0.21985294117647058</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E$2:$E$3</c:f>
              <c:numCache>
                <c:formatCode>0%</c:formatCode>
                <c:ptCount val="2"/>
                <c:pt idx="0">
                  <c:v>0.13529411764705881</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4519198097179743</c:v>
                </c:pt>
                <c:pt idx="1">
                  <c:v>0.3</c:v>
                </c:pt>
                <c:pt idx="2">
                  <c:v>0.35111111534966361</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19999991522895</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B$2:$B$3</c:f>
              <c:numCache>
                <c:formatCode>0.0%</c:formatCode>
                <c:ptCount val="2"/>
                <c:pt idx="0">
                  <c:v>0.43620424120364887</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C$2:$C$3</c:f>
              <c:numCache>
                <c:formatCode>0.0%</c:formatCode>
                <c:ptCount val="2"/>
                <c:pt idx="0">
                  <c:v>0.29723966354697312</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D$2:$D$3</c:f>
              <c:numCache>
                <c:formatCode>0.0%</c:formatCode>
                <c:ptCount val="2"/>
                <c:pt idx="0">
                  <c:v>0.21146783556450657</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E$2:$E$3</c:f>
              <c:numCache>
                <c:formatCode>0.0%</c:formatCode>
                <c:ptCount val="2"/>
                <c:pt idx="0">
                  <c:v>5.5088259684871459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1943601F-6024-46C4-9085-709B3BD9887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60AC5773-62C2-4174-A819-D303CE93FE3C}"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2D8B2F67-AD64-4C41-BD13-EBFA31CBA54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6410C080-C313-4FC6-99F7-0FFFE446F178}"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553F2C27-48BF-40E8-9F4B-FD8652C051A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3B28CADA-8253-4428-A1EC-2C1BEFD5E4DD}"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Bedrog</c:v>
                </c:pt>
                <c:pt idx="5">
                  <c:v>Valsheidsmisdrijven</c:v>
                </c:pt>
                <c:pt idx="6">
                  <c:v>Overig</c:v>
                </c:pt>
              </c:strCache>
            </c:strRef>
          </c:cat>
          <c:val>
            <c:numRef>
              <c:f>Sheet1!$B$2:$B$8</c:f>
              <c:numCache>
                <c:formatCode>#,##0</c:formatCode>
                <c:ptCount val="7"/>
                <c:pt idx="0">
                  <c:v>2290</c:v>
                </c:pt>
                <c:pt idx="1">
                  <c:v>940</c:v>
                </c:pt>
                <c:pt idx="2">
                  <c:v>815</c:v>
                </c:pt>
                <c:pt idx="3">
                  <c:v>600</c:v>
                </c:pt>
                <c:pt idx="4">
                  <c:v>295</c:v>
                </c:pt>
                <c:pt idx="5">
                  <c:v>150</c:v>
                </c:pt>
                <c:pt idx="6">
                  <c:v>500</c:v>
                </c:pt>
              </c:numCache>
            </c:numRef>
          </c:val>
          <c:extLst>
            <c:ext xmlns:c15="http://schemas.microsoft.com/office/drawing/2012/chart" uri="{02D57815-91ED-43cb-92C2-25804820EDAC}">
              <c15:datalabelsRange>
                <c15:f>Sheet1!$B$2:$B$20</c15:f>
                <c15:dlblRangeCache>
                  <c:ptCount val="19"/>
                  <c:pt idx="0">
                    <c:v>2.290</c:v>
                  </c:pt>
                  <c:pt idx="1">
                    <c:v>940</c:v>
                  </c:pt>
                  <c:pt idx="2">
                    <c:v>815</c:v>
                  </c:pt>
                  <c:pt idx="3">
                    <c:v>600</c:v>
                  </c:pt>
                  <c:pt idx="4">
                    <c:v>295</c:v>
                  </c:pt>
                  <c:pt idx="5">
                    <c:v>150</c:v>
                  </c:pt>
                  <c:pt idx="6">
                    <c:v>500</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5B74074-6B48-44A2-A63B-F68C1ADC1A4B}"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4EBD91F6-C3D5-4DB3-9BAA-31B421C90519}"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BD34DA3-B6E1-4D4B-B3AD-98C3B678305B}"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5619060-F01F-4CB6-BF2F-C227B4B5FC93}"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5CEB6D4-032E-43D0-B445-470416240D8F}"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9AC6305-490E-4E25-B1F5-06F0FE7B0B00}"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21813779486650794</c:v>
                </c:pt>
                <c:pt idx="1">
                  <c:v>0.51568106434964867</c:v>
                </c:pt>
                <c:pt idx="2">
                  <c:v>0.58950863807967602</c:v>
                </c:pt>
                <c:pt idx="3">
                  <c:v>0.43505294931738386</c:v>
                </c:pt>
                <c:pt idx="4">
                  <c:v>9.7864924499707143E-2</c:v>
                </c:pt>
                <c:pt idx="5">
                  <c:v>-0.17197385121726466</c:v>
                </c:pt>
                <c:pt idx="6">
                  <c:v>1.2116889131652795</c:v>
                </c:pt>
              </c:numCache>
            </c:numRef>
          </c:val>
          <c:extLst>
            <c:ext xmlns:c15="http://schemas.microsoft.com/office/drawing/2012/chart" uri="{02D57815-91ED-43cb-92C2-25804820EDAC}">
              <c15:datalabelsRange>
                <c15:f>Sheet1!$B$2:$B$35</c15:f>
                <c15:dlblRangeCache>
                  <c:ptCount val="34"/>
                  <c:pt idx="0">
                    <c:v>+22%</c:v>
                  </c:pt>
                  <c:pt idx="1">
                    <c:v>+52%</c:v>
                  </c:pt>
                  <c:pt idx="2">
                    <c:v>+59%</c:v>
                  </c:pt>
                  <c:pt idx="3">
                    <c:v>+44%</c:v>
                  </c:pt>
                  <c:pt idx="4">
                    <c:v>+10%</c:v>
                  </c:pt>
                  <c:pt idx="5">
                    <c:v>-17%</c:v>
                  </c:pt>
                  <c:pt idx="6">
                    <c:v>+121%</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F0993CEE-B6CF-42CD-A4AB-B95F4F06083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1894FE96-EF45-410C-80A1-E00F292A3EE9}"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DC0C3063-C307-47CC-94DA-173442ECB926}"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17280357-F7DB-452D-8CAE-61F3C4916AC1}"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93D2699-9379-4B20-AD61-E0C11DCE33E5}"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34848938612468916</c:v>
                </c:pt>
                <c:pt idx="1">
                  <c:v>-0.26829252039643203</c:v>
                </c:pt>
                <c:pt idx="2">
                  <c:v>-0.11179871376778244</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7.2439210552268249E-2</c:v>
                </c:pt>
                <c:pt idx="1">
                  <c:v>-3.7194754212091152E-3</c:v>
                </c:pt>
                <c:pt idx="2">
                  <c:v>-4.5743633360493259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H'12</c:v>
                  </c:pt>
                  <c:pt idx="1">
                    <c:v>H'17</c:v>
                  </c:pt>
                  <c:pt idx="2">
                    <c:v>H'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5B1AF727-A778-4058-A7F5-E1D5043D9382}"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F4AAEF8-F239-4627-9B7C-B55494FB79E6}"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DF3350D0-7D4D-49B6-8D5E-B595E693CDD3}"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32B2A09F-400F-45B6-8CB1-94E1CA09C17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40BDEC6C-7422-416D-BE54-1B39853DA194}"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4.9518289549566934E-2</c:v>
                </c:pt>
                <c:pt idx="1">
                  <c:v>-9.2408396840436058E-2</c:v>
                </c:pt>
                <c:pt idx="2">
                  <c:v>-0.11179871376778244</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6027928348769402</c:v>
                </c:pt>
                <c:pt idx="1">
                  <c:v>-8.9988597185331975E-2</c:v>
                </c:pt>
                <c:pt idx="2">
                  <c:v>-4.5743633360493259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H'12</c:v>
                  </c:pt>
                  <c:pt idx="1">
                    <c:v>H'17</c:v>
                  </c:pt>
                  <c:pt idx="2">
                    <c:v>H'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15401766572335135</c:v>
                </c:pt>
                <c:pt idx="1">
                  <c:v>4.965268844867507E-2</c:v>
                </c:pt>
                <c:pt idx="2">
                  <c:v>0.19305805677043136</c:v>
                </c:pt>
                <c:pt idx="3">
                  <c:v>6.2344567361289772E-2</c:v>
                </c:pt>
                <c:pt idx="4">
                  <c:v>0.21029500042877969</c:v>
                </c:pt>
                <c:pt idx="5">
                  <c:v>0.24412571820598578</c:v>
                </c:pt>
                <c:pt idx="6">
                  <c:v>1.5736214732870252E-2</c:v>
                </c:pt>
                <c:pt idx="7">
                  <c:v>0</c:v>
                </c:pt>
                <c:pt idx="8">
                  <c:v>2.201783723522854E-2</c:v>
                </c:pt>
                <c:pt idx="9">
                  <c:v>7.6537175199382556E-3</c:v>
                </c:pt>
                <c:pt idx="10">
                  <c:v>0</c:v>
                </c:pt>
                <c:pt idx="11">
                  <c:v>0</c:v>
                </c:pt>
                <c:pt idx="12">
                  <c:v>1.1791441557327845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12965312190287415</c:v>
                </c:pt>
                <c:pt idx="1">
                  <c:v>8.4658077304261642E-2</c:v>
                </c:pt>
                <c:pt idx="2">
                  <c:v>0.2333597621407334</c:v>
                </c:pt>
                <c:pt idx="3">
                  <c:v>9.5579781962338947E-2</c:v>
                </c:pt>
                <c:pt idx="4">
                  <c:v>0.20243805748265609</c:v>
                </c:pt>
                <c:pt idx="5">
                  <c:v>4.0515361744301287E-2</c:v>
                </c:pt>
                <c:pt idx="6">
                  <c:v>7.1238850346878102E-2</c:v>
                </c:pt>
                <c:pt idx="7">
                  <c:v>1.8473736372646186E-2</c:v>
                </c:pt>
                <c:pt idx="8">
                  <c:v>3.7284440039643214E-2</c:v>
                </c:pt>
                <c:pt idx="9">
                  <c:v>7.7304261645193264E-3</c:v>
                </c:pt>
                <c:pt idx="10">
                  <c:v>0</c:v>
                </c:pt>
                <c:pt idx="11">
                  <c:v>0</c:v>
                </c:pt>
                <c:pt idx="12">
                  <c:v>1.645193260654113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15267782426778242</c:v>
                </c:pt>
                <c:pt idx="1">
                  <c:v>9.9100418410041843E-2</c:v>
                </c:pt>
                <c:pt idx="2">
                  <c:v>0.19820083682008369</c:v>
                </c:pt>
                <c:pt idx="3">
                  <c:v>7.0983263598326365E-2</c:v>
                </c:pt>
                <c:pt idx="4">
                  <c:v>0.11951882845188284</c:v>
                </c:pt>
                <c:pt idx="5">
                  <c:v>6.8974895397489536E-2</c:v>
                </c:pt>
                <c:pt idx="6">
                  <c:v>4.1108786610878661E-2</c:v>
                </c:pt>
                <c:pt idx="7">
                  <c:v>9.6380753138075315E-2</c:v>
                </c:pt>
                <c:pt idx="8">
                  <c:v>4.3807531380753141E-2</c:v>
                </c:pt>
                <c:pt idx="9">
                  <c:v>7.866108786610879E-3</c:v>
                </c:pt>
                <c:pt idx="10">
                  <c:v>1.2740585774058578E-2</c:v>
                </c:pt>
                <c:pt idx="11">
                  <c:v>1.4267782426778243E-2</c:v>
                </c:pt>
                <c:pt idx="12">
                  <c:v>1.5690376569037657E-3</c:v>
                </c:pt>
                <c:pt idx="13">
                  <c:v>1.4246861924686192E-2</c:v>
                </c:pt>
                <c:pt idx="14">
                  <c:v>1.6129707112970713E-2</c:v>
                </c:pt>
                <c:pt idx="15">
                  <c:v>2.4686192468619246E-3</c:v>
                </c:pt>
                <c:pt idx="16">
                  <c:v>3.9121338912133895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3</c:v>
                </c:pt>
                <c:pt idx="1">
                  <c:v>0</c:v>
                </c:pt>
                <c:pt idx="2">
                  <c:v>6</c:v>
                </c:pt>
                <c:pt idx="3">
                  <c:v>2</c:v>
                </c:pt>
                <c:pt idx="4">
                  <c:v>1</c:v>
                </c:pt>
                <c:pt idx="5">
                  <c:v>9</c:v>
                </c:pt>
                <c:pt idx="6">
                  <c:v>4</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3</c:v>
                </c:pt>
                <c:pt idx="1">
                  <c:v>0</c:v>
                </c:pt>
                <c:pt idx="2">
                  <c:v>6</c:v>
                </c:pt>
                <c:pt idx="3">
                  <c:v>2</c:v>
                </c:pt>
                <c:pt idx="4">
                  <c:v>1</c:v>
                </c:pt>
                <c:pt idx="5">
                  <c:v>9</c:v>
                </c:pt>
                <c:pt idx="6">
                  <c:v>4</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2</c:v>
                </c:pt>
                <c:pt idx="1">
                  <c:v>0</c:v>
                </c:pt>
                <c:pt idx="2">
                  <c:v>4</c:v>
                </c:pt>
                <c:pt idx="3">
                  <c:v>2</c:v>
                </c:pt>
                <c:pt idx="4">
                  <c:v>1</c:v>
                </c:pt>
                <c:pt idx="5">
                  <c:v>10</c:v>
                </c:pt>
                <c:pt idx="6">
                  <c:v>1</c:v>
                </c:pt>
                <c:pt idx="7">
                  <c:v>0</c:v>
                </c:pt>
                <c:pt idx="8">
                  <c:v>2</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4"/>
                <c:pt idx="0">
                  <c:v>OPH (Ouderen Partij Heerlen)</c:v>
                </c:pt>
                <c:pt idx="1">
                  <c:v>Hart-Leers</c:v>
                </c:pt>
                <c:pt idx="2">
                  <c:v>Partij Hoensbroeks Belang</c:v>
                </c:pt>
                <c:pt idx="3">
                  <c:v>Stadspartij</c:v>
                </c:pt>
              </c:strCache>
            </c:strRef>
          </c:cat>
          <c:val>
            <c:numRef>
              <c:f>Sheet1!$B$2:$B$9</c:f>
              <c:numCache>
                <c:formatCode>0</c:formatCode>
                <c:ptCount val="8"/>
                <c:pt idx="1">
                  <c:v>2</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4"/>
                <c:pt idx="0">
                  <c:v>OPH (Ouderen Partij Heerlen)</c:v>
                </c:pt>
                <c:pt idx="1">
                  <c:v>Hart-Leers</c:v>
                </c:pt>
                <c:pt idx="2">
                  <c:v>Partij Hoensbroeks Belang</c:v>
                </c:pt>
                <c:pt idx="3">
                  <c:v>Stadspartij</c:v>
                </c:pt>
              </c:strCache>
            </c:strRef>
          </c:cat>
          <c:val>
            <c:numRef>
              <c:f>Sheet1!$C$2:$C$9</c:f>
              <c:numCache>
                <c:formatCode>0</c:formatCode>
                <c:ptCount val="8"/>
                <c:pt idx="1">
                  <c:v>3</c:v>
                </c:pt>
                <c:pt idx="2">
                  <c:v>2</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17DEDC13-223C-42C6-8982-FDF3A9C3B672}"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FD9652AF-013E-4B0A-B3CE-994D1AAFA4F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fld id="{25281395-70A5-4018-AF14-783BB2E0DC4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4"/>
                <c:pt idx="0">
                  <c:v>OPH (Ouderen Partij Heerlen)</c:v>
                </c:pt>
                <c:pt idx="1">
                  <c:v>Hart-Leers</c:v>
                </c:pt>
                <c:pt idx="2">
                  <c:v>Partij Hoensbroeks Belang</c:v>
                </c:pt>
                <c:pt idx="3">
                  <c:v>Stadspartij</c:v>
                </c:pt>
              </c:strCache>
            </c:strRef>
          </c:cat>
          <c:val>
            <c:numRef>
              <c:f>Sheet1!$D$2:$D$9</c:f>
              <c:numCache>
                <c:formatCode>0</c:formatCode>
                <c:ptCount val="8"/>
                <c:pt idx="0">
                  <c:v>7</c:v>
                </c:pt>
                <c:pt idx="1">
                  <c:v>3</c:v>
                </c:pt>
                <c:pt idx="2">
                  <c:v>3</c:v>
                </c:pt>
                <c:pt idx="3" formatCode="0.0%">
                  <c:v>2</c:v>
                </c:pt>
              </c:numCache>
            </c:numRef>
          </c:val>
          <c:extLst>
            <c:ext xmlns:c15="http://schemas.microsoft.com/office/drawing/2012/chart" uri="{02D57815-91ED-43cb-92C2-25804820EDAC}">
              <c15:datalabelsRange>
                <c15:f>Sheet1!$D$2:$D$7</c15:f>
                <c15:dlblRangeCache>
                  <c:ptCount val="6"/>
                  <c:pt idx="0">
                    <c:v>7</c:v>
                  </c:pt>
                  <c:pt idx="1">
                    <c:v>3</c:v>
                  </c:pt>
                  <c:pt idx="2">
                    <c:v>3</c:v>
                  </c:pt>
                  <c:pt idx="3">
                    <c:v>200,0%</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B$2:$B$3</c:f>
              <c:numCache>
                <c:formatCode>0%</c:formatCode>
                <c:ptCount val="2"/>
                <c:pt idx="0">
                  <c:v>0.64527720739219707</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C$2:$C$3</c:f>
              <c:numCache>
                <c:formatCode>0%</c:formatCode>
                <c:ptCount val="2"/>
                <c:pt idx="0">
                  <c:v>0.35403832991101986</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erlen</c:v>
                </c:pt>
                <c:pt idx="1">
                  <c:v>Nederland</c:v>
                </c:pt>
              </c:strCache>
            </c:strRef>
          </c:cat>
          <c:val>
            <c:numRef>
              <c:f>Sheet1!$E$2:$E$3</c:f>
              <c:numCache>
                <c:formatCode>0%</c:formatCode>
                <c:ptCount val="2"/>
                <c:pt idx="0">
                  <c:v>6.8446269678302531E-4</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19999991522895</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7130479102956162</c:v>
                </c:pt>
                <c:pt idx="1">
                  <c:v>0.39200000000000002</c:v>
                </c:pt>
                <c:pt idx="2">
                  <c:v>0.51999999152289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19999991522895</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19999991522895</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andgraaf</c:v>
                </c:pt>
                <c:pt idx="1">
                  <c:v>Kerkrade</c:v>
                </c:pt>
                <c:pt idx="2">
                  <c:v>Brunssum</c:v>
                </c:pt>
                <c:pt idx="3">
                  <c:v>Beekdaelen</c:v>
                </c:pt>
                <c:pt idx="4">
                  <c:v>Sittard-Geleen</c:v>
                </c:pt>
                <c:pt idx="5">
                  <c:v>Maastricht</c:v>
                </c:pt>
                <c:pt idx="6">
                  <c:v>Voerendaal</c:v>
                </c:pt>
                <c:pt idx="7">
                  <c:v>Simpelveld</c:v>
                </c:pt>
                <c:pt idx="8">
                  <c:v>Valkenburg aan de Geul</c:v>
                </c:pt>
                <c:pt idx="9">
                  <c:v>Eindhoven</c:v>
                </c:pt>
              </c:strCache>
            </c:strRef>
          </c:cat>
          <c:val>
            <c:numRef>
              <c:f>Sheet1!$B$2:$B$11</c:f>
              <c:numCache>
                <c:formatCode>General</c:formatCode>
                <c:ptCount val="10"/>
                <c:pt idx="0">
                  <c:v>607</c:v>
                </c:pt>
                <c:pt idx="1">
                  <c:v>598</c:v>
                </c:pt>
                <c:pt idx="2">
                  <c:v>502</c:v>
                </c:pt>
                <c:pt idx="3">
                  <c:v>362</c:v>
                </c:pt>
                <c:pt idx="4">
                  <c:v>319</c:v>
                </c:pt>
                <c:pt idx="5">
                  <c:v>267</c:v>
                </c:pt>
                <c:pt idx="6">
                  <c:v>195</c:v>
                </c:pt>
                <c:pt idx="7">
                  <c:v>93</c:v>
                </c:pt>
                <c:pt idx="8">
                  <c:v>74</c:v>
                </c:pt>
                <c:pt idx="9">
                  <c:v>71</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Landgraaf</c:v>
                </c:pt>
                <c:pt idx="1">
                  <c:v>Kerkrade</c:v>
                </c:pt>
                <c:pt idx="2">
                  <c:v>Brunssum</c:v>
                </c:pt>
                <c:pt idx="3">
                  <c:v>Beekdaelen</c:v>
                </c:pt>
                <c:pt idx="4">
                  <c:v>Sittard-Geleen</c:v>
                </c:pt>
                <c:pt idx="5">
                  <c:v>Maastricht</c:v>
                </c:pt>
                <c:pt idx="6">
                  <c:v>Voerendaal</c:v>
                </c:pt>
                <c:pt idx="7">
                  <c:v>Simpelveld</c:v>
                </c:pt>
                <c:pt idx="8">
                  <c:v>Valkenburg aan de Geul</c:v>
                </c:pt>
                <c:pt idx="9">
                  <c:v>Eindhoven</c:v>
                </c:pt>
              </c:strCache>
            </c:strRef>
          </c:cat>
          <c:val>
            <c:numRef>
              <c:f>Sheet1!$C$2:$C$11</c:f>
              <c:numCache>
                <c:formatCode>General</c:formatCode>
                <c:ptCount val="10"/>
                <c:pt idx="0">
                  <c:v>11</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Kerkrade</c:v>
                </c:pt>
                <c:pt idx="1">
                  <c:v>Brunssum</c:v>
                </c:pt>
                <c:pt idx="2">
                  <c:v>Landgraaf</c:v>
                </c:pt>
                <c:pt idx="3">
                  <c:v>Maastricht</c:v>
                </c:pt>
                <c:pt idx="4">
                  <c:v>Beekdaelen</c:v>
                </c:pt>
                <c:pt idx="5">
                  <c:v>Sittard-Geleen</c:v>
                </c:pt>
                <c:pt idx="6">
                  <c:v>Voerendaal</c:v>
                </c:pt>
                <c:pt idx="7">
                  <c:v>Simpelveld</c:v>
                </c:pt>
                <c:pt idx="8">
                  <c:v>Valkenburg aan de Geul</c:v>
                </c:pt>
                <c:pt idx="9">
                  <c:v>Cranendonck</c:v>
                </c:pt>
              </c:strCache>
            </c:strRef>
          </c:cat>
          <c:val>
            <c:numRef>
              <c:f>Sheet1!$B$2:$B$11</c:f>
              <c:numCache>
                <c:formatCode>General</c:formatCode>
                <c:ptCount val="10"/>
                <c:pt idx="0">
                  <c:v>618</c:v>
                </c:pt>
                <c:pt idx="1">
                  <c:v>592</c:v>
                </c:pt>
                <c:pt idx="2">
                  <c:v>592</c:v>
                </c:pt>
                <c:pt idx="3">
                  <c:v>322</c:v>
                </c:pt>
                <c:pt idx="4">
                  <c:v>321</c:v>
                </c:pt>
                <c:pt idx="5">
                  <c:v>295</c:v>
                </c:pt>
                <c:pt idx="6">
                  <c:v>209</c:v>
                </c:pt>
                <c:pt idx="7">
                  <c:v>111</c:v>
                </c:pt>
                <c:pt idx="8">
                  <c:v>95</c:v>
                </c:pt>
                <c:pt idx="9">
                  <c:v>93</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Kerkrade</c:v>
                </c:pt>
                <c:pt idx="1">
                  <c:v>Brunssum</c:v>
                </c:pt>
                <c:pt idx="2">
                  <c:v>Landgraaf</c:v>
                </c:pt>
                <c:pt idx="3">
                  <c:v>Maastricht</c:v>
                </c:pt>
                <c:pt idx="4">
                  <c:v>Beekdaelen</c:v>
                </c:pt>
                <c:pt idx="5">
                  <c:v>Sittard-Geleen</c:v>
                </c:pt>
                <c:pt idx="6">
                  <c:v>Voerendaal</c:v>
                </c:pt>
                <c:pt idx="7">
                  <c:v>Simpelveld</c:v>
                </c:pt>
                <c:pt idx="8">
                  <c:v>Valkenburg aan de Geul</c:v>
                </c:pt>
                <c:pt idx="9">
                  <c:v>Cranendonck</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0.1</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5</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7499999999999999</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2500000000000001</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F061E79-A1F8-4A42-B65C-550899FA6A72}"/>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7165027"/>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498862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Heerlen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Heerlen</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1575833630"/>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399087994"/>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Heerlen vallen 10,0% van de huishoudens in de hoogste inkomensgroep (rijkste 20% van Nederland). Er zijn dus relatief weinig rijken in Heerlen.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Heerlen zijn de arme eenpersoonshuishoudens oververtegenwoordigd. De oranje balk komt dus boven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Heerlen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eerlen</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5.976</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57</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870</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45%</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711603606"/>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710801042"/>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Heerlen</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8.22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95</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5%</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5%</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43%</a:t>
            </a: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3396047895"/>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1420596649"/>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3,2%</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2,9%</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8,7%</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2242646822"/>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2251985853"/>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eerlen</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eerlen</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eerlen</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Heerlen</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Heerlen</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594</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68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83</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630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631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80 me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1385983129"/>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1339230347"/>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64,4</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alsheids- misdrijven</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235), Softdrugs(145) en Heling(8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5.59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6%</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644988651"/>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861580678"/>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Heerlen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Heerlen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Heerlen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Heerlen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Heerlen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2032054330"/>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983948337"/>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Heerlen</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Heerle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8.78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9%</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4120727179"/>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Heerlen</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Heerle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2.14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44,4%</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3494105123"/>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1619996386"/>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80</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4,1%</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0,5%</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3868496656"/>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36678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87.086</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8.061</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52</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69</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764933897"/>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daling van 8%</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Heerlen</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0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4%</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0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2</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16</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08</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2418568178"/>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eerlen</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698399539"/>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825242607"/>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eerlen</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4033758221"/>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4287445505"/>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5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8%</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Heerlen</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5% van de verhuizers naar Heerlen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75% van de verhuizers weg uit Heerlen</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001912316"/>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1112181083"/>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Heerl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Heerlen</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53.5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40.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1,31</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2502513212"/>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Heerlen</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Gezondheids- en welzijnszorg</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2.5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Specialistische zakelijke dienst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6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Financiële dienstverlening</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42%</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4005333425"/>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2469883184"/>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02701114"/>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Heerlen</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33.7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5%</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131846206"/>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125240821"/>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1814174713"/>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3131889507"/>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79258206"/>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3%</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4,5%</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9%</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7%</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Heerlen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Heerlen</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4</Words>
  <Application>Microsoft Office PowerPoint</Application>
  <PresentationFormat>Widescreen</PresentationFormat>
  <Paragraphs>429</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Heerlen</vt:lpstr>
      <vt:lpstr>PowerPoint Presentation</vt:lpstr>
      <vt:lpstr>Historische bevolkingsontwikkeling Heerl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1:26:10Z</dcterms:modified>
</cp:coreProperties>
</file>